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7"/>
  </p:notesMasterIdLst>
  <p:handoutMasterIdLst>
    <p:handoutMasterId r:id="rId18"/>
  </p:handoutMasterIdLst>
  <p:sldIdLst>
    <p:sldId id="257" r:id="rId5"/>
    <p:sldId id="281" r:id="rId6"/>
    <p:sldId id="282" r:id="rId7"/>
    <p:sldId id="283" r:id="rId8"/>
    <p:sldId id="284" r:id="rId9"/>
    <p:sldId id="301" r:id="rId10"/>
    <p:sldId id="302" r:id="rId11"/>
    <p:sldId id="303" r:id="rId12"/>
    <p:sldId id="304" r:id="rId13"/>
    <p:sldId id="305" r:id="rId14"/>
    <p:sldId id="306" r:id="rId15"/>
    <p:sldId id="307" r:id="rId1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1111D5"/>
    <a:srgbClr val="626262"/>
    <a:srgbClr val="FF3700"/>
    <a:srgbClr val="90B8F4"/>
    <a:srgbClr val="A8C8F6"/>
    <a:srgbClr val="0099FF"/>
    <a:srgbClr val="9BD4FF"/>
    <a:srgbClr val="85CBFF"/>
    <a:srgbClr val="6969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42FB87-3FCC-4D22-B0AF-BED470F3434A}" v="3" dt="2022-04-08T10:43:53.1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82" autoAdjust="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189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9" d="100"/>
          <a:sy n="59" d="100"/>
        </p:scale>
        <p:origin x="2371" y="1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gaerts, Thomas" userId="45c6b22d-a026-4ca6-bab3-ceee034ec9e8" providerId="ADAL" clId="{17FC9A54-9C65-4B91-ABBD-E54F6D0250A3}"/>
    <pc:docChg chg="custSel addSld delSld modSld">
      <pc:chgData name="Bogaerts, Thomas" userId="45c6b22d-a026-4ca6-bab3-ceee034ec9e8" providerId="ADAL" clId="{17FC9A54-9C65-4B91-ABBD-E54F6D0250A3}" dt="2019-12-09T08:06:16.612" v="32" actId="478"/>
      <pc:docMkLst>
        <pc:docMk/>
      </pc:docMkLst>
      <pc:sldChg chg="modNotesTx">
        <pc:chgData name="Bogaerts, Thomas" userId="45c6b22d-a026-4ca6-bab3-ceee034ec9e8" providerId="ADAL" clId="{17FC9A54-9C65-4B91-ABBD-E54F6D0250A3}" dt="2019-12-09T07:56:54.951" v="0" actId="6549"/>
        <pc:sldMkLst>
          <pc:docMk/>
          <pc:sldMk cId="4254348983" sldId="257"/>
        </pc:sldMkLst>
      </pc:sldChg>
      <pc:sldChg chg="modSp">
        <pc:chgData name="Bogaerts, Thomas" userId="45c6b22d-a026-4ca6-bab3-ceee034ec9e8" providerId="ADAL" clId="{17FC9A54-9C65-4B91-ABBD-E54F6D0250A3}" dt="2019-12-09T07:57:21.869" v="9" actId="20577"/>
        <pc:sldMkLst>
          <pc:docMk/>
          <pc:sldMk cId="4275830269" sldId="289"/>
        </pc:sldMkLst>
        <pc:spChg chg="mod">
          <ac:chgData name="Bogaerts, Thomas" userId="45c6b22d-a026-4ca6-bab3-ceee034ec9e8" providerId="ADAL" clId="{17FC9A54-9C65-4B91-ABBD-E54F6D0250A3}" dt="2019-12-09T07:57:21.869" v="9" actId="20577"/>
          <ac:spMkLst>
            <pc:docMk/>
            <pc:sldMk cId="4275830269" sldId="289"/>
            <ac:spMk id="3" creationId="{7BFF754E-E559-4DA2-8700-B79A304FF1C4}"/>
          </ac:spMkLst>
        </pc:spChg>
      </pc:sldChg>
      <pc:sldChg chg="modSp">
        <pc:chgData name="Bogaerts, Thomas" userId="45c6b22d-a026-4ca6-bab3-ceee034ec9e8" providerId="ADAL" clId="{17FC9A54-9C65-4B91-ABBD-E54F6D0250A3}" dt="2019-12-09T07:59:45.860" v="12" actId="12"/>
        <pc:sldMkLst>
          <pc:docMk/>
          <pc:sldMk cId="1554304894" sldId="295"/>
        </pc:sldMkLst>
        <pc:spChg chg="mod">
          <ac:chgData name="Bogaerts, Thomas" userId="45c6b22d-a026-4ca6-bab3-ceee034ec9e8" providerId="ADAL" clId="{17FC9A54-9C65-4B91-ABBD-E54F6D0250A3}" dt="2019-12-09T07:59:45.860" v="12" actId="12"/>
          <ac:spMkLst>
            <pc:docMk/>
            <pc:sldMk cId="1554304894" sldId="295"/>
            <ac:spMk id="7" creationId="{112F6015-D7A7-47DF-A576-22BD66D74B6B}"/>
          </ac:spMkLst>
        </pc:spChg>
      </pc:sldChg>
      <pc:sldChg chg="delSp del">
        <pc:chgData name="Bogaerts, Thomas" userId="45c6b22d-a026-4ca6-bab3-ceee034ec9e8" providerId="ADAL" clId="{17FC9A54-9C65-4B91-ABBD-E54F6D0250A3}" dt="2019-12-09T08:06:13.207" v="31" actId="2696"/>
        <pc:sldMkLst>
          <pc:docMk/>
          <pc:sldMk cId="1132467207" sldId="300"/>
        </pc:sldMkLst>
        <pc:picChg chg="del">
          <ac:chgData name="Bogaerts, Thomas" userId="45c6b22d-a026-4ca6-bab3-ceee034ec9e8" providerId="ADAL" clId="{17FC9A54-9C65-4B91-ABBD-E54F6D0250A3}" dt="2019-12-09T08:06:04.971" v="29"/>
          <ac:picMkLst>
            <pc:docMk/>
            <pc:sldMk cId="1132467207" sldId="300"/>
            <ac:picMk id="9" creationId="{965CA93E-FEA4-4EF7-9B8D-DBD1D6853431}"/>
          </ac:picMkLst>
        </pc:picChg>
      </pc:sldChg>
      <pc:sldChg chg="del">
        <pc:chgData name="Bogaerts, Thomas" userId="45c6b22d-a026-4ca6-bab3-ceee034ec9e8" providerId="ADAL" clId="{17FC9A54-9C65-4B91-ABBD-E54F6D0250A3}" dt="2019-12-09T08:02:16.670" v="25" actId="2696"/>
        <pc:sldMkLst>
          <pc:docMk/>
          <pc:sldMk cId="3155943444" sldId="303"/>
        </pc:sldMkLst>
      </pc:sldChg>
      <pc:sldChg chg="modSp">
        <pc:chgData name="Bogaerts, Thomas" userId="45c6b22d-a026-4ca6-bab3-ceee034ec9e8" providerId="ADAL" clId="{17FC9A54-9C65-4B91-ABBD-E54F6D0250A3}" dt="2019-12-09T08:01:01.695" v="24" actId="20577"/>
        <pc:sldMkLst>
          <pc:docMk/>
          <pc:sldMk cId="3910327352" sldId="304"/>
        </pc:sldMkLst>
        <pc:spChg chg="mod">
          <ac:chgData name="Bogaerts, Thomas" userId="45c6b22d-a026-4ca6-bab3-ceee034ec9e8" providerId="ADAL" clId="{17FC9A54-9C65-4B91-ABBD-E54F6D0250A3}" dt="2019-12-09T08:01:01.695" v="24" actId="20577"/>
          <ac:spMkLst>
            <pc:docMk/>
            <pc:sldMk cId="3910327352" sldId="304"/>
            <ac:spMk id="3" creationId="{A6BE73FF-875C-4F0F-AD91-4452E45A9734}"/>
          </ac:spMkLst>
        </pc:spChg>
      </pc:sldChg>
      <pc:sldChg chg="delSp add">
        <pc:chgData name="Bogaerts, Thomas" userId="45c6b22d-a026-4ca6-bab3-ceee034ec9e8" providerId="ADAL" clId="{17FC9A54-9C65-4B91-ABBD-E54F6D0250A3}" dt="2019-12-09T08:04:33.215" v="28" actId="478"/>
        <pc:sldMkLst>
          <pc:docMk/>
          <pc:sldMk cId="3306036887" sldId="305"/>
        </pc:sldMkLst>
        <pc:spChg chg="del">
          <ac:chgData name="Bogaerts, Thomas" userId="45c6b22d-a026-4ca6-bab3-ceee034ec9e8" providerId="ADAL" clId="{17FC9A54-9C65-4B91-ABBD-E54F6D0250A3}" dt="2019-12-09T08:04:33.215" v="28" actId="478"/>
          <ac:spMkLst>
            <pc:docMk/>
            <pc:sldMk cId="3306036887" sldId="305"/>
            <ac:spMk id="2" creationId="{2CF51DD8-A102-42DB-8527-C70316E6831E}"/>
          </ac:spMkLst>
        </pc:spChg>
        <pc:spChg chg="del">
          <ac:chgData name="Bogaerts, Thomas" userId="45c6b22d-a026-4ca6-bab3-ceee034ec9e8" providerId="ADAL" clId="{17FC9A54-9C65-4B91-ABBD-E54F6D0250A3}" dt="2019-12-09T08:04:31.856" v="27" actId="478"/>
          <ac:spMkLst>
            <pc:docMk/>
            <pc:sldMk cId="3306036887" sldId="305"/>
            <ac:spMk id="3" creationId="{6701B7C3-95F0-4031-BFFF-B431A785D951}"/>
          </ac:spMkLst>
        </pc:spChg>
      </pc:sldChg>
      <pc:sldChg chg="delSp add">
        <pc:chgData name="Bogaerts, Thomas" userId="45c6b22d-a026-4ca6-bab3-ceee034ec9e8" providerId="ADAL" clId="{17FC9A54-9C65-4B91-ABBD-E54F6D0250A3}" dt="2019-12-09T08:06:16.612" v="32" actId="478"/>
        <pc:sldMkLst>
          <pc:docMk/>
          <pc:sldMk cId="397323657" sldId="306"/>
        </pc:sldMkLst>
        <pc:spChg chg="del">
          <ac:chgData name="Bogaerts, Thomas" userId="45c6b22d-a026-4ca6-bab3-ceee034ec9e8" providerId="ADAL" clId="{17FC9A54-9C65-4B91-ABBD-E54F6D0250A3}" dt="2019-12-09T08:06:16.612" v="32" actId="478"/>
          <ac:spMkLst>
            <pc:docMk/>
            <pc:sldMk cId="397323657" sldId="306"/>
            <ac:spMk id="9" creationId="{37EF9D17-4BFA-4204-B1B2-964BF6C191B9}"/>
          </ac:spMkLst>
        </pc:spChg>
      </pc:sldChg>
    </pc:docChg>
  </pc:docChgLst>
  <pc:docChgLst>
    <pc:chgData name="Bogaerts, Thomas" userId="45c6b22d-a026-4ca6-bab3-ceee034ec9e8" providerId="ADAL" clId="{1F42FB87-3FCC-4D22-B0AF-BED470F3434A}"/>
    <pc:docChg chg="undo custSel modSld">
      <pc:chgData name="Bogaerts, Thomas" userId="45c6b22d-a026-4ca6-bab3-ceee034ec9e8" providerId="ADAL" clId="{1F42FB87-3FCC-4D22-B0AF-BED470F3434A}" dt="2022-04-08T10:44:15.262" v="25" actId="20577"/>
      <pc:docMkLst>
        <pc:docMk/>
      </pc:docMkLst>
      <pc:sldChg chg="modSp mod">
        <pc:chgData name="Bogaerts, Thomas" userId="45c6b22d-a026-4ca6-bab3-ceee034ec9e8" providerId="ADAL" clId="{1F42FB87-3FCC-4D22-B0AF-BED470F3434A}" dt="2022-04-08T10:44:15.262" v="25" actId="20577"/>
        <pc:sldMkLst>
          <pc:docMk/>
          <pc:sldMk cId="2046760455" sldId="306"/>
        </pc:sldMkLst>
        <pc:spChg chg="mod">
          <ac:chgData name="Bogaerts, Thomas" userId="45c6b22d-a026-4ca6-bab3-ceee034ec9e8" providerId="ADAL" clId="{1F42FB87-3FCC-4D22-B0AF-BED470F3434A}" dt="2022-04-08T10:44:15.262" v="25" actId="20577"/>
          <ac:spMkLst>
            <pc:docMk/>
            <pc:sldMk cId="2046760455" sldId="306"/>
            <ac:spMk id="3" creationId="{526B70BD-DED4-4E90-A1CA-32140840522F}"/>
          </ac:spMkLst>
        </pc:spChg>
      </pc:sldChg>
    </pc:docChg>
  </pc:docChgLst>
  <pc:docChgLst>
    <pc:chgData name="Bogaerts, Thomas" userId="45c6b22d-a026-4ca6-bab3-ceee034ec9e8" providerId="ADAL" clId="{06A64427-6C0B-4AD0-8469-9D959636E08C}"/>
    <pc:docChg chg="undo modSld sldOrd">
      <pc:chgData name="Bogaerts, Thomas" userId="45c6b22d-a026-4ca6-bab3-ceee034ec9e8" providerId="ADAL" clId="{06A64427-6C0B-4AD0-8469-9D959636E08C}" dt="2019-12-07T21:20:32.620" v="111"/>
      <pc:docMkLst>
        <pc:docMk/>
      </pc:docMkLst>
      <pc:sldChg chg="ord">
        <pc:chgData name="Bogaerts, Thomas" userId="45c6b22d-a026-4ca6-bab3-ceee034ec9e8" providerId="ADAL" clId="{06A64427-6C0B-4AD0-8469-9D959636E08C}" dt="2019-12-07T20:50:08.754" v="1"/>
        <pc:sldMkLst>
          <pc:docMk/>
          <pc:sldMk cId="2834035374" sldId="287"/>
        </pc:sldMkLst>
      </pc:sldChg>
      <pc:sldChg chg="ord">
        <pc:chgData name="Bogaerts, Thomas" userId="45c6b22d-a026-4ca6-bab3-ceee034ec9e8" providerId="ADAL" clId="{06A64427-6C0B-4AD0-8469-9D959636E08C}" dt="2019-12-07T20:50:01.975" v="0"/>
        <pc:sldMkLst>
          <pc:docMk/>
          <pc:sldMk cId="1615931148" sldId="288"/>
        </pc:sldMkLst>
      </pc:sldChg>
      <pc:sldChg chg="modSp">
        <pc:chgData name="Bogaerts, Thomas" userId="45c6b22d-a026-4ca6-bab3-ceee034ec9e8" providerId="ADAL" clId="{06A64427-6C0B-4AD0-8469-9D959636E08C}" dt="2019-12-07T20:52:28.610" v="110" actId="20577"/>
        <pc:sldMkLst>
          <pc:docMk/>
          <pc:sldMk cId="4275830269" sldId="289"/>
        </pc:sldMkLst>
        <pc:spChg chg="mod">
          <ac:chgData name="Bogaerts, Thomas" userId="45c6b22d-a026-4ca6-bab3-ceee034ec9e8" providerId="ADAL" clId="{06A64427-6C0B-4AD0-8469-9D959636E08C}" dt="2019-12-07T20:52:28.610" v="110" actId="20577"/>
          <ac:spMkLst>
            <pc:docMk/>
            <pc:sldMk cId="4275830269" sldId="289"/>
            <ac:spMk id="3" creationId="{7BFF754E-E559-4DA2-8700-B79A304FF1C4}"/>
          </ac:spMkLst>
        </pc:spChg>
      </pc:sldChg>
      <pc:sldChg chg="ord">
        <pc:chgData name="Bogaerts, Thomas" userId="45c6b22d-a026-4ca6-bab3-ceee034ec9e8" providerId="ADAL" clId="{06A64427-6C0B-4AD0-8469-9D959636E08C}" dt="2019-12-07T21:20:32.620" v="111"/>
        <pc:sldMkLst>
          <pc:docMk/>
          <pc:sldMk cId="456464611" sldId="30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F1351E5-F95F-4B53-925C-52298FB515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03CED8-0D7F-4FFA-98D2-F09E1E1C8F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96C955-7817-42BB-9F55-E188422BFEA2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876EB-9B04-40A5-8990-05CE70FD9B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B6B947-B9D5-4B7A-811D-6FE4540E08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48CE5F-C024-41CE-8141-F2FEC56B6D3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55888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15FB2C-D0D5-49A9-98F1-925E2C0F6A9D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C812A-DEDA-4792-8F26-E53EDDBE7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4830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59900" indent="-292268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69075" indent="-23381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36705" indent="-23381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104334" indent="-23381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71965" indent="-23381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039594" indent="-23381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507224" indent="-23381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974854" indent="-23381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r" defTabSz="92140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2D3DBA-259A-4A2E-95CC-A25FFFB6C79F}" type="slidenum"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21404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2950"/>
            <a:ext cx="4959350" cy="3719513"/>
          </a:xfrm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defTabSz="928257" eaLnBrk="1" hangingPunct="1">
              <a:defRPr/>
            </a:pPr>
            <a:endParaRPr lang="en-US" altLang="en-US" b="0" dirty="0">
              <a:solidFill>
                <a:srgbClr val="171717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293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B9D299-E081-4476-9CB1-124A94DE7E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8411" y="1722214"/>
            <a:ext cx="8782977" cy="4949825"/>
          </a:xfrm>
        </p:spPr>
        <p:txBody>
          <a:bodyPr lIns="72000" tIns="72000" rIns="72000" bIns="72000"/>
          <a:lstStyle>
            <a:lvl1pPr marL="75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525600" y="5421600"/>
            <a:ext cx="5760000" cy="6480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525600" y="4564800"/>
            <a:ext cx="5760000" cy="831600"/>
          </a:xfrm>
        </p:spPr>
        <p:txBody>
          <a:bodyPr anchor="t"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69F1F7E-B21B-43AE-B793-551C433E42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6684935" y="353693"/>
            <a:ext cx="2044988" cy="888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9704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260000"/>
            <a:ext cx="405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DA577-CA8C-433D-B5F6-CF7A34525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4163" y="2052000"/>
            <a:ext cx="4049687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1260000"/>
            <a:ext cx="405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3" y="2052000"/>
            <a:ext cx="4049687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90F8A923-B511-4150-9CA7-8125BD3266D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EB3FA5B9-4840-401B-9131-810A350A135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7F65EDB-1759-4796-AD54-98D54F5890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7381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260000"/>
            <a:ext cx="405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DA577-CA8C-433D-B5F6-CF7A34525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4163" y="2052000"/>
            <a:ext cx="4049687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1260000"/>
            <a:ext cx="405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3" y="2052000"/>
            <a:ext cx="4049687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D2E39-0A84-443B-91AB-81D7D45B930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Rectangle 6">
            <a:extLst>
              <a:ext uri="{FF2B5EF4-FFF2-40B4-BE49-F238E27FC236}">
                <a16:creationId xmlns:a16="http://schemas.microsoft.com/office/drawing/2014/main" id="{156A15A3-E29A-4EE8-B20D-9CAA8EF74FC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D8ECA4A5-C6F4-4692-AF98-1D9125667CA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AD69E6E-CAAC-4C85-A369-43DE920739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A3E52CA-6816-4C7E-92CB-55804B5FBE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942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DA577-CA8C-433D-B5F6-CF7A34525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1260000"/>
            <a:ext cx="405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3" y="2052000"/>
            <a:ext cx="4049687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90F8A923-B511-4150-9CA7-8125BD3266D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EB3FA5B9-4840-401B-9131-810A350A135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7F65EDB-1759-4796-AD54-98D54F5890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0C06F53-3CC1-4031-A3A6-25EFE8BFF45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23850" y="1260000"/>
            <a:ext cx="405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DA577-CA8C-433D-B5F6-CF7A34525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1260000"/>
            <a:ext cx="405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3" y="2052000"/>
            <a:ext cx="4049687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D2E39-0A84-443B-91AB-81D7D45B930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Rectangle 6">
            <a:extLst>
              <a:ext uri="{FF2B5EF4-FFF2-40B4-BE49-F238E27FC236}">
                <a16:creationId xmlns:a16="http://schemas.microsoft.com/office/drawing/2014/main" id="{156A15A3-E29A-4EE8-B20D-9CAA8EF74FC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D8ECA4A5-C6F4-4692-AF98-1D9125667CA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AD69E6E-CAAC-4C85-A369-43DE920739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A74FCFC-2993-446E-872F-EA2F826DF9A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23850" y="1260000"/>
            <a:ext cx="405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9641CD1-4DA6-4F7F-9CF3-3687A0F763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019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1260000"/>
            <a:ext cx="4050000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260000"/>
            <a:ext cx="405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DA577-CA8C-433D-B5F6-CF7A34525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4163" y="2052000"/>
            <a:ext cx="4049687" cy="3312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3850" y="5508000"/>
            <a:ext cx="8496150" cy="414000"/>
          </a:xfrm>
          <a:solidFill>
            <a:schemeClr val="accent1"/>
          </a:solidFill>
        </p:spPr>
        <p:txBody>
          <a:bodyPr lIns="90000" rIns="90000" anchor="ctr"/>
          <a:lstStyle>
            <a:lvl1pPr marL="750" indent="0">
              <a:buNone/>
              <a:defRPr sz="1600" b="1">
                <a:solidFill>
                  <a:schemeClr val="bg1"/>
                </a:solidFill>
              </a:defRPr>
            </a:lvl1pPr>
            <a:lvl2pPr marL="268537" indent="0">
              <a:buNone/>
              <a:defRPr sz="1600" b="1">
                <a:solidFill>
                  <a:schemeClr val="bg1"/>
                </a:solidFill>
              </a:defRPr>
            </a:lvl2pPr>
            <a:lvl3pPr marL="544512" indent="0">
              <a:buNone/>
              <a:defRPr sz="1600" b="1">
                <a:solidFill>
                  <a:schemeClr val="bg1"/>
                </a:solidFill>
              </a:defRPr>
            </a:lvl3pPr>
            <a:lvl4pPr marL="811213" indent="0">
              <a:buNone/>
              <a:defRPr sz="1600" b="1">
                <a:solidFill>
                  <a:schemeClr val="bg1"/>
                </a:solidFill>
              </a:defRPr>
            </a:lvl4pPr>
            <a:lvl5pPr marL="1082675" indent="0"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3C59C16B-A229-492D-A819-75139574E055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62D8F801-97D0-473C-951A-9E96318B81E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EE4C0BFF-00DB-4E6A-9D14-F9226A57B3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89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385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1260000"/>
            <a:ext cx="4050000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260000"/>
            <a:ext cx="405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DA577-CA8C-433D-B5F6-CF7A34525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4163" y="2052000"/>
            <a:ext cx="4049687" cy="3312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3850" y="5508000"/>
            <a:ext cx="8496150" cy="414000"/>
          </a:xfrm>
          <a:solidFill>
            <a:schemeClr val="accent1"/>
          </a:solidFill>
        </p:spPr>
        <p:txBody>
          <a:bodyPr lIns="90000" rIns="90000" anchor="ctr"/>
          <a:lstStyle>
            <a:lvl1pPr marL="750" indent="0">
              <a:buNone/>
              <a:defRPr sz="1600" b="1">
                <a:solidFill>
                  <a:schemeClr val="bg1"/>
                </a:solidFill>
              </a:defRPr>
            </a:lvl1pPr>
            <a:lvl2pPr marL="268537" indent="0">
              <a:buNone/>
              <a:defRPr sz="1600" b="1">
                <a:solidFill>
                  <a:schemeClr val="bg1"/>
                </a:solidFill>
              </a:defRPr>
            </a:lvl2pPr>
            <a:lvl3pPr marL="544512" indent="0">
              <a:buNone/>
              <a:defRPr sz="1600" b="1">
                <a:solidFill>
                  <a:schemeClr val="bg1"/>
                </a:solidFill>
              </a:defRPr>
            </a:lvl3pPr>
            <a:lvl4pPr marL="811213" indent="0">
              <a:buNone/>
              <a:defRPr sz="1600" b="1">
                <a:solidFill>
                  <a:schemeClr val="bg1"/>
                </a:solidFill>
              </a:defRPr>
            </a:lvl4pPr>
            <a:lvl5pPr marL="1082675" indent="0"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A8557CF-BD42-4936-8A22-6C9F07CE327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CE567C32-080C-4535-9E19-2CB6B2206F5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6D0E2393-B067-4B01-83CA-FA012585064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B28E8A09-3759-4809-BBD8-DD34033040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0E9F722-C253-4064-A227-CF54F4CE7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92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38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23850" y="2988000"/>
            <a:ext cx="849615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A36F31B8-350C-499F-A099-5B51C9B8B27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1CAB5CB4-9E4C-428E-8F97-6301A9872B2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73C01787-68D1-4A2E-8FBB-9523C1FDDB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2819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23850" y="2988000"/>
            <a:ext cx="849615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9C99CCC5-AC1F-4121-BC21-789416D7529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50A70350-18A0-41CD-8DA9-CF0C7D3ACBD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039A51B-9F11-4ACE-9FD9-8905CCD19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4077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23850" y="2988000"/>
            <a:ext cx="849615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D0CAE5-54C6-4375-901A-EB98C675EFD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6">
            <a:extLst>
              <a:ext uri="{FF2B5EF4-FFF2-40B4-BE49-F238E27FC236}">
                <a16:creationId xmlns:a16="http://schemas.microsoft.com/office/drawing/2014/main" id="{19B9F0DC-AF3D-4194-8FC8-ACCF66B9CDE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267F7A65-0FA3-47D0-B8CE-E79C4CE3BE2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92E2B429-4819-4961-B740-FF4225B82E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9D4FBA5-52E7-4EDA-B115-33C9E9A722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0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23850" y="2988000"/>
            <a:ext cx="849615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01E86BD-C3D4-4C70-B960-C87AD78F27F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6">
            <a:extLst>
              <a:ext uri="{FF2B5EF4-FFF2-40B4-BE49-F238E27FC236}">
                <a16:creationId xmlns:a16="http://schemas.microsoft.com/office/drawing/2014/main" id="{FA9DB13B-E287-4058-8B7F-F86CC26C96C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AC273623-FD5B-45AF-8C2A-7E1D2C1B1BE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D06B5886-6BC0-4965-8247-C3D600894A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ABD7944-948D-442C-AD20-78283AA0D2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89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E65D08B-79C9-485D-A876-9F63BA201D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D7F194B-4125-45EA-9042-E9682F337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10/12/2019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97A5C45-7FEC-4302-8713-4E52E7580209}"/>
              </a:ext>
            </a:extLst>
          </p:cNvPr>
          <p:cNvGrpSpPr/>
          <p:nvPr userDrawn="1"/>
        </p:nvGrpSpPr>
        <p:grpSpPr>
          <a:xfrm>
            <a:off x="-1952922" y="1270489"/>
            <a:ext cx="1800000" cy="2539876"/>
            <a:chOff x="8313420" y="3385207"/>
            <a:chExt cx="1800000" cy="253987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7A54DE9-D203-4349-9FA6-8ED913997F61}"/>
                </a:ext>
              </a:extLst>
            </p:cNvPr>
            <p:cNvSpPr/>
            <p:nvPr/>
          </p:nvSpPr>
          <p:spPr>
            <a:xfrm>
              <a:off x="8313420" y="3745478"/>
              <a:ext cx="1800000" cy="2179605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tIns="72000" bIns="72000"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  <a:t>Elements on slides should so far as possible align with the image/text area that is indicated by the dotted guides. To turn guides on/off, right-click </a:t>
              </a:r>
              <a:b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  <a:t>and select Grid and Guides. Guides will </a:t>
              </a:r>
              <a:b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  <a:t>not print or appear</a:t>
              </a:r>
              <a:b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  <a:t>in slideshow mode.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2CE0C44-D2D0-40DB-BE49-ED47581337A3}"/>
                </a:ext>
              </a:extLst>
            </p:cNvPr>
            <p:cNvGrpSpPr/>
            <p:nvPr/>
          </p:nvGrpSpPr>
          <p:grpSpPr>
            <a:xfrm>
              <a:off x="8313420" y="3385207"/>
              <a:ext cx="360000" cy="360000"/>
              <a:chOff x="8313420" y="3385207"/>
              <a:chExt cx="360000" cy="360000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8C0E3094-F37C-4727-9353-0F21E7111BAE}"/>
                  </a:ext>
                </a:extLst>
              </p:cNvPr>
              <p:cNvSpPr/>
              <p:nvPr/>
            </p:nvSpPr>
            <p:spPr bwMode="auto">
              <a:xfrm>
                <a:off x="8313420" y="3385207"/>
                <a:ext cx="360000" cy="36000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400" b="0" i="0" u="none" strike="noStrike" cap="none" normalizeH="0" baseline="-25000" dirty="0">
                  <a:ln>
                    <a:noFill/>
                  </a:ln>
                  <a:solidFill>
                    <a:srgbClr val="FAFFFF"/>
                  </a:solidFill>
                  <a:effectLst/>
                  <a:latin typeface="Arial" pitchFamily="34" charset="0"/>
                  <a:ea typeface="MS PGothic" pitchFamily="34" charset="-128"/>
                </a:endParaRPr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6F1D393-15C0-41D4-AB1E-D4F3F7093D4E}"/>
                  </a:ext>
                </a:extLst>
              </p:cNvPr>
              <p:cNvGrpSpPr/>
              <p:nvPr/>
            </p:nvGrpSpPr>
            <p:grpSpPr>
              <a:xfrm>
                <a:off x="8380800" y="3406406"/>
                <a:ext cx="216000" cy="270662"/>
                <a:chOff x="8312527" y="3390218"/>
                <a:chExt cx="216000" cy="270662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1AE9E6E8-C7E2-4824-B821-E70611BA393D}"/>
                    </a:ext>
                  </a:extLst>
                </p:cNvPr>
                <p:cNvSpPr/>
                <p:nvPr/>
              </p:nvSpPr>
              <p:spPr bwMode="auto">
                <a:xfrm>
                  <a:off x="8312527" y="3444880"/>
                  <a:ext cx="216000" cy="216000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GB" sz="2400" b="0" i="0" u="none" strike="noStrike" cap="none" normalizeH="0" baseline="-25000" dirty="0">
                    <a:ln>
                      <a:noFill/>
                    </a:ln>
                    <a:solidFill>
                      <a:srgbClr val="FAFFFF"/>
                    </a:solidFill>
                    <a:effectLst/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76851BBC-0F02-4D3E-A68C-44EA52E4F488}"/>
                    </a:ext>
                  </a:extLst>
                </p:cNvPr>
                <p:cNvSpPr/>
                <p:nvPr/>
              </p:nvSpPr>
              <p:spPr>
                <a:xfrm>
                  <a:off x="8396481" y="3390218"/>
                  <a:ext cx="48091" cy="205184"/>
                </a:xfrm>
                <a:prstGeom prst="rect">
                  <a:avLst/>
                </a:prstGeom>
              </p:spPr>
              <p:txBody>
                <a:bodyPr wrap="none" lIns="0" tIns="0" rIns="0" bIns="0" anchor="ctr">
                  <a:spAutoFit/>
                </a:bodyPr>
                <a:lstStyle/>
                <a:p>
                  <a:pPr lvl="0" algn="ctr" defTabSz="9144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2000" baseline="-25000" dirty="0">
                      <a:solidFill>
                        <a:srgbClr val="FAFFFF"/>
                      </a:solidFill>
                      <a:latin typeface="Arial" pitchFamily="34" charset="0"/>
                      <a:ea typeface="MS PGothic" pitchFamily="34" charset="-128"/>
                    </a:rPr>
                    <a:t>!</a:t>
                  </a:r>
                  <a:endParaRPr lang="en-GB" sz="2400" baseline="-25000" dirty="0">
                    <a:solidFill>
                      <a:srgbClr val="FAFFFF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105030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38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23850" y="1800000"/>
            <a:ext cx="8496150" cy="3816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3850" y="1260000"/>
            <a:ext cx="8496150" cy="324000"/>
          </a:xfrm>
        </p:spPr>
        <p:txBody>
          <a:bodyPr/>
          <a:lstStyle>
            <a:lvl1pPr marL="750" indent="0">
              <a:buNone/>
              <a:defRPr sz="1400"/>
            </a:lvl1pPr>
            <a:lvl2pPr marL="268537" indent="0">
              <a:buNone/>
              <a:defRPr/>
            </a:lvl2pPr>
            <a:lvl3pPr marL="544512" indent="0">
              <a:buNone/>
              <a:defRPr/>
            </a:lvl3pPr>
            <a:lvl4pPr marL="811213" indent="0">
              <a:buNone/>
              <a:defRPr/>
            </a:lvl4pPr>
            <a:lvl5pPr marL="108267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850" y="5688000"/>
            <a:ext cx="7041600" cy="360000"/>
          </a:xfrm>
        </p:spPr>
        <p:txBody>
          <a:bodyPr/>
          <a:lstStyle>
            <a:lvl1pPr marL="750" indent="0">
              <a:buNone/>
              <a:defRPr sz="800"/>
            </a:lvl1pPr>
            <a:lvl2pPr marL="268537" indent="0">
              <a:buNone/>
              <a:defRPr sz="800"/>
            </a:lvl2pPr>
            <a:lvl3pPr marL="544512" indent="0">
              <a:buNone/>
              <a:defRPr sz="800"/>
            </a:lvl3pPr>
            <a:lvl4pPr marL="811213" indent="0">
              <a:buNone/>
              <a:defRPr sz="800"/>
            </a:lvl4pPr>
            <a:lvl5pPr marL="1082675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B96202D-81B8-4219-9AA6-994C1095DAB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19BD4769-D306-407E-A5B4-CF64909ACB4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64200FBD-1278-44BC-B71C-E582CB6AB7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1600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543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23850" y="1800000"/>
            <a:ext cx="8496150" cy="3816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3850" y="1260000"/>
            <a:ext cx="8496150" cy="324000"/>
          </a:xfrm>
        </p:spPr>
        <p:txBody>
          <a:bodyPr/>
          <a:lstStyle>
            <a:lvl1pPr marL="750" indent="0">
              <a:buNone/>
              <a:defRPr sz="1400"/>
            </a:lvl1pPr>
            <a:lvl2pPr marL="268537" indent="0">
              <a:buNone/>
              <a:defRPr/>
            </a:lvl2pPr>
            <a:lvl3pPr marL="544512" indent="0">
              <a:buNone/>
              <a:defRPr/>
            </a:lvl3pPr>
            <a:lvl4pPr marL="811213" indent="0">
              <a:buNone/>
              <a:defRPr/>
            </a:lvl4pPr>
            <a:lvl5pPr marL="108267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850" y="5688000"/>
            <a:ext cx="7041600" cy="360000"/>
          </a:xfrm>
        </p:spPr>
        <p:txBody>
          <a:bodyPr/>
          <a:lstStyle>
            <a:lvl1pPr marL="750" indent="0">
              <a:buNone/>
              <a:defRPr sz="800"/>
            </a:lvl1pPr>
            <a:lvl2pPr marL="268537" indent="0">
              <a:buNone/>
              <a:defRPr sz="800"/>
            </a:lvl2pPr>
            <a:lvl3pPr marL="544512" indent="0">
              <a:buNone/>
              <a:defRPr sz="800"/>
            </a:lvl3pPr>
            <a:lvl4pPr marL="811213" indent="0">
              <a:buNone/>
              <a:defRPr sz="800"/>
            </a:lvl4pPr>
            <a:lvl5pPr marL="1082675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C08228-43C1-495B-A61A-1771C87AF20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D509F3A7-5F12-4245-BAF2-F3DA73A8502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5062922A-4E86-46FF-8608-74CAEDD2A19C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7CF8A99F-0848-483A-9F5C-97B17E5754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D389EFD-EC81-48D2-AD88-F498B50EB0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52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543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23851" y="1260475"/>
            <a:ext cx="8496300" cy="43561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850" y="5688000"/>
            <a:ext cx="7041600" cy="360000"/>
          </a:xfrm>
        </p:spPr>
        <p:txBody>
          <a:bodyPr/>
          <a:lstStyle>
            <a:lvl1pPr marL="750" indent="0">
              <a:buNone/>
              <a:defRPr sz="800"/>
            </a:lvl1pPr>
            <a:lvl2pPr marL="268537" indent="0">
              <a:buNone/>
              <a:defRPr sz="800"/>
            </a:lvl2pPr>
            <a:lvl3pPr marL="544512" indent="0">
              <a:buNone/>
              <a:defRPr sz="800"/>
            </a:lvl3pPr>
            <a:lvl4pPr marL="811213" indent="0">
              <a:buNone/>
              <a:defRPr sz="800"/>
            </a:lvl4pPr>
            <a:lvl5pPr marL="1082675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02F1FE05-4E3B-4061-A423-4D97D172D5B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13FE9789-0698-4CFD-9312-A0B7D59BFCD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5B9448A2-906F-4851-B08F-B0CD3A28DC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0251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543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23851" y="1260475"/>
            <a:ext cx="8496300" cy="43561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34" y="360000"/>
            <a:ext cx="8496466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850" y="5688000"/>
            <a:ext cx="7041600" cy="360000"/>
          </a:xfrm>
        </p:spPr>
        <p:txBody>
          <a:bodyPr/>
          <a:lstStyle>
            <a:lvl1pPr marL="750" indent="0">
              <a:buNone/>
              <a:defRPr sz="800"/>
            </a:lvl1pPr>
            <a:lvl2pPr marL="268537" indent="0">
              <a:buNone/>
              <a:defRPr sz="800"/>
            </a:lvl2pPr>
            <a:lvl3pPr marL="544512" indent="0">
              <a:buNone/>
              <a:defRPr sz="800"/>
            </a:lvl3pPr>
            <a:lvl4pPr marL="811213" indent="0">
              <a:buNone/>
              <a:defRPr sz="800"/>
            </a:lvl4pPr>
            <a:lvl5pPr marL="1082675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860B18B-F973-404F-AEC3-AC1DAAA98CE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534" y="1116000"/>
            <a:ext cx="8496466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6">
            <a:extLst>
              <a:ext uri="{FF2B5EF4-FFF2-40B4-BE49-F238E27FC236}">
                <a16:creationId xmlns:a16="http://schemas.microsoft.com/office/drawing/2014/main" id="{74B215ED-5A27-43E1-A13C-BC0F4310565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C035C702-A1A2-41C3-B676-EFCFD3E2A50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FF697744-2BD3-4FB4-899D-C5F6333890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C85212-3647-4D9C-B709-538108FA77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1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543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24001" y="2988000"/>
            <a:ext cx="405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988000"/>
            <a:ext cx="405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10A5B9CF-C045-4124-A8AA-2002A67CC76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432A9D2C-5DE5-461E-9182-D350517DB278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E38D19B8-166F-49E2-B57F-638D242941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044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23850" y="2988000"/>
            <a:ext cx="405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988000"/>
            <a:ext cx="405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81368745-79F1-49A9-8383-C09DB15868F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AE93E821-8905-414F-A271-D7058E3C7858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715D6A30-9BE8-4306-A5EA-9BB005962A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24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5556" userDrawn="1">
          <p15:clr>
            <a:srgbClr val="FBAE40"/>
          </p15:clr>
        </p15:guide>
        <p15:guide id="4" pos="20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23850" y="2988000"/>
            <a:ext cx="405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988000"/>
            <a:ext cx="405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DAE4EC9-2B18-4720-916C-D97BA74C251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AFCD5825-7E1A-47D6-9BDB-5F3F180DCC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81717" y="6129529"/>
            <a:ext cx="1209712" cy="525600"/>
          </a:xfrm>
          <a:prstGeom prst="rect">
            <a:avLst/>
          </a:prstGeom>
        </p:spPr>
      </p:pic>
      <p:sp>
        <p:nvSpPr>
          <p:cNvPr id="13" name="Rectangle 6">
            <a:extLst>
              <a:ext uri="{FF2B5EF4-FFF2-40B4-BE49-F238E27FC236}">
                <a16:creationId xmlns:a16="http://schemas.microsoft.com/office/drawing/2014/main" id="{CA3A9924-46FF-48D6-BA23-ECB9CBA25F6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7822B626-3E2F-4082-8AE1-3F0B289EC39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EEDF6FC9-ED47-4333-BF7B-134CF16CF3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6EB9CD4-7B9E-4D69-9AE6-659C9F6E90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603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7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601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24001" y="2988000"/>
            <a:ext cx="405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988000"/>
            <a:ext cx="405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38B40E-0CA9-4641-B535-EAFAA3D5EC0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C5A36291-6F54-467E-BBFB-227FF61D8DE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4001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533F761D-8970-4DEE-9853-D22B95B48A5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4001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31F62F9D-A811-4F10-8437-570827D166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9884729-18A6-4FCC-91AC-456625535A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42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7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F47302E5-969B-43AB-9858-33415D094B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158FBBC4-FDFA-45B4-A227-DF95014105C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E9D78326-0AD7-4BD5-A747-8821893BF49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E6F461DB-623D-4B02-A1B5-606A8014F4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3155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7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F47302E5-969B-43AB-9858-33415D094B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17393B6-4A6C-4AF7-AAE8-A83DEE27997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8CFE9D80-5FC3-440A-B693-9D04F66A6B1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F92CB92C-14C5-44D1-90DC-D22926B6DA1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9FD2C553-83C1-4D55-8A91-56A05E3866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ECC8F99-6B7C-4F9C-B974-54E31E13F5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166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7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BBF0CE7-A085-443A-932B-4E9C6B607C3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6">
            <a:extLst>
              <a:ext uri="{FF2B5EF4-FFF2-40B4-BE49-F238E27FC236}">
                <a16:creationId xmlns:a16="http://schemas.microsoft.com/office/drawing/2014/main" id="{BC336CFB-5809-4FED-8064-79A019756D8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BACFFCE4-657C-43F6-ABCC-1BAC3576560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14F3D221-2CD0-4CE5-B2EF-93C741FF1B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10/12/2019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6BC1BF1-67ED-4027-B80C-2E11BCA2D6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91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385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8B5A0DBD-F468-483F-9499-D909169769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21466CA3-B09F-4D19-B5B0-3161720D2DA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B9248DEB-5FDC-4801-9043-526CA0915C7C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C793D35-C178-472D-B0CF-35818C5E97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492E3B7-18AC-4B95-A97D-B76642B7EC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62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475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lang="en-US" sz="1100" smtClean="0">
                <a:effectLst/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Introduction: Predicting width constrictions during hot rolling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8ECF09F7-CA25-4B08-955C-62536221F23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8929D4DA-367F-429B-AE9D-CFF455EE4F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12/03/2021</a:t>
            </a:r>
          </a:p>
        </p:txBody>
      </p:sp>
    </p:spTree>
    <p:extLst>
      <p:ext uri="{BB962C8B-B14F-4D97-AF65-F5344CB8AC3E}">
        <p14:creationId xmlns:p14="http://schemas.microsoft.com/office/powerpoint/2010/main" val="1318881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9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0000"/>
            <a:ext cx="8496150" cy="475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BBF0CE7-A085-443A-932B-4E9C6B607C3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C5F620A0-67A6-49E7-8D23-CBB63980352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3F2A99E8-B44E-43DA-B4A9-0945996BCF3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07F2E86E-AA84-466D-83D3-A8BC3AD25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4D58645-4B3B-4408-9F7D-2F5343BA2C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91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93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260000"/>
            <a:ext cx="4050000" cy="4104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0000" y="1260000"/>
            <a:ext cx="4050000" cy="4104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DA577-CA8C-433D-B5F6-CF7A34525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DF78A850-B231-47E9-8E57-C292083F327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30DA3B1F-81EE-4BB9-9EF6-868339EEC20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708EA0BA-3DD5-4AF3-9539-7855F0F8EC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8049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385" userDrawn="1">
          <p15:clr>
            <a:srgbClr val="FBAE40"/>
          </p15:clr>
        </p15:guide>
        <p15:guide id="3" pos="204" userDrawn="1">
          <p15:clr>
            <a:srgbClr val="FBAE40"/>
          </p15:clr>
        </p15:guide>
        <p15:guide id="4" pos="555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260000"/>
            <a:ext cx="4050000" cy="4104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0000" y="1260000"/>
            <a:ext cx="4050000" cy="4104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DA577-CA8C-433D-B5F6-CF7A34525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9C55FC-617D-4D5B-9758-F76A146B3B6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1F1E66D0-5164-4B72-90E1-7C2C15D2F9F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D7C5842D-06B7-4538-A723-DFBC3CFED73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9358F990-79E2-4FAD-8165-46FFDD2BEB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612FE79-1588-4534-9307-1F6A95FA44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800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385" userDrawn="1">
          <p15:clr>
            <a:srgbClr val="FBAE40"/>
          </p15:clr>
        </p15:guide>
        <p15:guide id="3" pos="5556" userDrawn="1">
          <p15:clr>
            <a:srgbClr val="FBAE40"/>
          </p15:clr>
        </p15:guide>
        <p15:guide id="4" pos="20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4001" y="1260000"/>
            <a:ext cx="405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0000" y="1260000"/>
            <a:ext cx="405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DA577-CA8C-433D-B5F6-CF7A34525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9369A1C2-A721-4427-94BA-69D4580A8AA5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8F61C1F1-A653-47BA-87F8-04C895F9551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CE3792C7-4D13-4CA5-8DC0-114305F2F45B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3406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60000"/>
            <a:ext cx="8496150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4001" y="1260000"/>
            <a:ext cx="405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0000" y="1260000"/>
            <a:ext cx="405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37DA577-CA8C-433D-B5F6-CF7A34525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25450" y="6335281"/>
            <a:ext cx="594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229ACD0-6354-4F13-B032-BB4AFA96A3D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1116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7544241D-9076-41F3-92A2-01EB955C5845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6335281"/>
            <a:ext cx="1008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5C4FC5EB-CED6-4690-9C83-5124DC2E27D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516000"/>
            <a:ext cx="1008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AD568AB-E62B-431A-9480-082B2771CB0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323850" y="6426000"/>
            <a:ext cx="1008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8/04/2022</a:t>
            </a:fld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5602591-61EE-4806-87BA-4F9F705CDC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369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  <p15:guide id="2" pos="5556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JP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2"/>
            </p:custDataLst>
          </p:nvPr>
        </p:nvGraphicFramePr>
        <p:xfrm>
          <a:off x="161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60" imgH="360" progId="">
                  <p:embed/>
                </p:oleObj>
              </mc:Choice>
              <mc:Fallback>
                <p:oleObj name="think-cell Slide" r:id="rId3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360000"/>
            <a:ext cx="8496150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260000"/>
            <a:ext cx="849615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23850" y="6335281"/>
            <a:ext cx="1296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lang="en-GB" sz="600" smtClean="0"/>
            </a:lvl1pPr>
          </a:lstStyle>
          <a:p>
            <a:pPr>
              <a:defRPr/>
            </a:pPr>
            <a:r>
              <a:rPr lang="en-GB"/>
              <a:t>Page </a:t>
            </a:r>
            <a:fld id="{72A704F9-61CA-4770-B270-3EB3A3A14010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5F2D72-DD17-4B04-A90D-B62B7886452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23850" y="864000"/>
            <a:ext cx="849615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F5EB60B-1BFF-4B75-96B6-3049A6DC97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7795059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201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741" r:id="rId3"/>
    <p:sldLayoutId id="2147483742" r:id="rId4"/>
    <p:sldLayoutId id="2147483743" r:id="rId5"/>
    <p:sldLayoutId id="2147483676" r:id="rId6"/>
    <p:sldLayoutId id="2147483744" r:id="rId7"/>
    <p:sldLayoutId id="2147483733" r:id="rId8"/>
    <p:sldLayoutId id="2147483745" r:id="rId9"/>
    <p:sldLayoutId id="2147483738" r:id="rId10"/>
    <p:sldLayoutId id="2147483750" r:id="rId11"/>
    <p:sldLayoutId id="2147483756" r:id="rId12"/>
    <p:sldLayoutId id="2147483757" r:id="rId13"/>
    <p:sldLayoutId id="2147483740" r:id="rId14"/>
    <p:sldLayoutId id="2147483751" r:id="rId15"/>
    <p:sldLayoutId id="2147483734" r:id="rId16"/>
    <p:sldLayoutId id="2147483735" r:id="rId17"/>
    <p:sldLayoutId id="2147483752" r:id="rId18"/>
    <p:sldLayoutId id="2147483753" r:id="rId19"/>
    <p:sldLayoutId id="2147483739" r:id="rId20"/>
    <p:sldLayoutId id="2147483747" r:id="rId21"/>
    <p:sldLayoutId id="2147483746" r:id="rId22"/>
    <p:sldLayoutId id="2147483748" r:id="rId23"/>
    <p:sldLayoutId id="2147483736" r:id="rId24"/>
    <p:sldLayoutId id="2147483737" r:id="rId25"/>
    <p:sldLayoutId id="2147483754" r:id="rId26"/>
    <p:sldLayoutId id="2147483755" r:id="rId27"/>
    <p:sldLayoutId id="2147483678" r:id="rId28"/>
    <p:sldLayoutId id="2147483749" r:id="rId29"/>
    <p:sldLayoutId id="2147483679" r:id="rId3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+mj-lt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8400" indent="-2476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540000" indent="-2714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1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1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ftp://ftp.arcelormittalgent.com/" TargetMode="Externa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jpe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17" descr="A wheel of a bicycle&#10;&#10;Description automatically generated">
            <a:extLst>
              <a:ext uri="{FF2B5EF4-FFF2-40B4-BE49-F238E27FC236}">
                <a16:creationId xmlns:a16="http://schemas.microsoft.com/office/drawing/2014/main" id="{8EAF7C36-A4B4-47D4-9A18-399478605A4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2" b="60410"/>
          <a:stretch/>
        </p:blipFill>
        <p:spPr>
          <a:xfrm>
            <a:off x="180001" y="1728001"/>
            <a:ext cx="8782977" cy="4949825"/>
          </a:xfr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888256C-3129-4359-AC2A-F93BAEA4F9C0}"/>
              </a:ext>
            </a:extLst>
          </p:cNvPr>
          <p:cNvSpPr/>
          <p:nvPr/>
        </p:nvSpPr>
        <p:spPr bwMode="auto">
          <a:xfrm>
            <a:off x="179388" y="1728613"/>
            <a:ext cx="8782978" cy="4950000"/>
          </a:xfrm>
          <a:prstGeom prst="rect">
            <a:avLst/>
          </a:prstGeom>
          <a:gradFill flip="none" rotWithShape="1">
            <a:gsLst>
              <a:gs pos="35000">
                <a:schemeClr val="tx1">
                  <a:lumMod val="50000"/>
                  <a:alpha val="0"/>
                </a:schemeClr>
              </a:gs>
              <a:gs pos="95000">
                <a:schemeClr val="tx1">
                  <a:lumMod val="50000"/>
                </a:schemeClr>
              </a:gs>
            </a:gsLst>
            <a:lin ang="8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-25000" noProof="0" dirty="0">
              <a:ln>
                <a:noFill/>
              </a:ln>
              <a:solidFill>
                <a:srgbClr val="FA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B49CAD9-2374-435F-A3E6-23B953083DA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homas Bogaerts, ArcelorMittal Belgiu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65AC25-24E1-41B5-A092-79AE1C0D25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roduction: Predicting width constrictions during hot roll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43489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DE9DE-C012-45B9-8DA2-81044EF65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ed data (no inpu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18523-9A27-48CA-882B-3A50032B69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850" y="1114922"/>
            <a:ext cx="8496150" cy="3126757"/>
          </a:xfrm>
        </p:spPr>
        <p:txBody>
          <a:bodyPr/>
          <a:lstStyle/>
          <a:p>
            <a:r>
              <a:rPr lang="en-US" dirty="0"/>
              <a:t>One file per measurement (B4/B5) and per coil</a:t>
            </a:r>
          </a:p>
          <a:p>
            <a:r>
              <a:rPr lang="en-US" dirty="0"/>
              <a:t>Form: </a:t>
            </a:r>
            <a:r>
              <a:rPr lang="en-US" i="1" dirty="0" err="1"/>
              <a:t>coilnumber</a:t>
            </a:r>
            <a:r>
              <a:rPr lang="en-US" i="1" dirty="0"/>
              <a:t>; measurement; </a:t>
            </a:r>
            <a:r>
              <a:rPr lang="en-US" dirty="0"/>
              <a:t>’</a:t>
            </a:r>
            <a:r>
              <a:rPr lang="en-US" dirty="0" err="1"/>
              <a:t>lengthpoints</a:t>
            </a:r>
            <a:r>
              <a:rPr lang="en-US" i="1" dirty="0"/>
              <a:t>:’; &lt;</a:t>
            </a:r>
            <a:r>
              <a:rPr lang="en-US" dirty="0" err="1"/>
              <a:t>Lengthcoördinates</a:t>
            </a:r>
            <a:r>
              <a:rPr lang="en-US" dirty="0"/>
              <a:t>&gt;</a:t>
            </a:r>
            <a:r>
              <a:rPr lang="en-US" i="1" dirty="0"/>
              <a:t>;</a:t>
            </a:r>
            <a:r>
              <a:rPr lang="en-US" dirty="0"/>
              <a:t>’Values</a:t>
            </a:r>
            <a:r>
              <a:rPr lang="en-US" i="1" dirty="0"/>
              <a:t>’; &lt;</a:t>
            </a:r>
            <a:r>
              <a:rPr lang="en-US" dirty="0"/>
              <a:t>Width measurements&gt;</a:t>
            </a:r>
          </a:p>
          <a:p>
            <a:r>
              <a:rPr lang="en-US" dirty="0"/>
              <a:t>Only first 200m</a:t>
            </a:r>
          </a:p>
          <a:p>
            <a:r>
              <a:rPr lang="en-US" dirty="0"/>
              <a:t>Some cleaning required (zeros at start,…)</a:t>
            </a:r>
          </a:p>
          <a:p>
            <a:r>
              <a:rPr lang="en-US" dirty="0" err="1"/>
              <a:t>Coilnumber</a:t>
            </a:r>
            <a:r>
              <a:rPr lang="en-US" dirty="0"/>
              <a:t> to connect this to input dat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93C964-DAD8-4FE4-9AC8-0B5C60C9F1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3F8507-CEC9-4D9A-A6C4-88E03FAFEB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94F4105-5AB7-4D65-BDF4-A529F9EBC2D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15/03/202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189A7E-C80E-4277-A96E-056DEABCE5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927" y="3661995"/>
            <a:ext cx="782955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7539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E633B-EDC0-4713-B76D-4B945ED6C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lo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6B70BD-DED4-4E90-A1CA-3214084052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sz="1800" dirty="0">
                <a:effectLst/>
                <a:ea typeface="Calibri" panose="020F0502020204030204" pitchFamily="34" charset="0"/>
                <a:hlinkClick r:id="rId2"/>
              </a:rPr>
              <a:t>ftp.arcelormittalgent.com</a:t>
            </a:r>
            <a:endParaRPr lang="nl-BE" sz="1800" dirty="0">
              <a:effectLst/>
              <a:ea typeface="Calibri" panose="020F0502020204030204" pitchFamily="34" charset="0"/>
            </a:endParaRPr>
          </a:p>
          <a:p>
            <a:r>
              <a:rPr lang="nl-BE" dirty="0"/>
              <a:t>Paste link in file </a:t>
            </a:r>
            <a:r>
              <a:rPr lang="nl-BE" dirty="0" err="1"/>
              <a:t>explorer</a:t>
            </a:r>
            <a:endParaRPr lang="nl-BE" dirty="0"/>
          </a:p>
          <a:p>
            <a:r>
              <a:rPr lang="nl-BE" dirty="0"/>
              <a:t>Password </a:t>
            </a:r>
            <a:r>
              <a:rPr lang="nl-BE" dirty="0" err="1"/>
              <a:t>required</a:t>
            </a:r>
            <a:r>
              <a:rPr lang="nl-BE" dirty="0"/>
              <a:t>:</a:t>
            </a:r>
          </a:p>
          <a:p>
            <a:pPr lvl="1"/>
            <a:r>
              <a:rPr lang="nl-BE" dirty="0"/>
              <a:t>Username: </a:t>
            </a:r>
            <a:r>
              <a:rPr lang="nl-BE" sz="1400" dirty="0">
                <a:effectLst/>
                <a:ea typeface="Calibri" panose="020F0502020204030204" pitchFamily="34" charset="0"/>
              </a:rPr>
              <a:t>FTP-</a:t>
            </a:r>
            <a:r>
              <a:rPr lang="nl-BE" sz="1400" dirty="0" err="1">
                <a:effectLst/>
                <a:ea typeface="Calibri" panose="020F0502020204030204" pitchFamily="34" charset="0"/>
              </a:rPr>
              <a:t>uEytAnoB</a:t>
            </a:r>
            <a:br>
              <a:rPr lang="nl-BE" dirty="0"/>
            </a:br>
            <a:r>
              <a:rPr lang="nl-BE" dirty="0"/>
              <a:t>Password: </a:t>
            </a:r>
            <a:r>
              <a:rPr lang="nl-BE" sz="1400" dirty="0">
                <a:effectLst/>
                <a:ea typeface="Calibri" panose="020F0502020204030204" pitchFamily="34" charset="0"/>
              </a:rPr>
              <a:t>zMu0fMcNeYFeOkGu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1782D2-145F-42D8-87D3-223882A309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1C0D18-8618-463E-96E4-CD6C4A49D2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B55C4C8-5927-4141-836C-04872F321C6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15/03/202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C33546E-FA32-4DD5-B553-207A683CA5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9625" y="3118282"/>
            <a:ext cx="6324600" cy="1704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7604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6B70BD-DED4-4E90-A1CA-3214084052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750" indent="0" algn="ctr">
              <a:buNone/>
            </a:pPr>
            <a:r>
              <a:rPr lang="en-US" sz="7200" dirty="0"/>
              <a:t>Question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1782D2-145F-42D8-87D3-223882A309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1C0D18-8618-463E-96E4-CD6C4A49D2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B55C4C8-5927-4141-836C-04872F321C6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15/03/2021</a:t>
            </a:r>
          </a:p>
        </p:txBody>
      </p:sp>
    </p:spTree>
    <p:extLst>
      <p:ext uri="{BB962C8B-B14F-4D97-AF65-F5344CB8AC3E}">
        <p14:creationId xmlns:p14="http://schemas.microsoft.com/office/powerpoint/2010/main" val="3201808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Ws30384\Fotoarchief 2\Fotoarchief 2013\Publicaties\Brochure ZMAMGS\Links\010306SDGstock0009.jpg">
            <a:extLst>
              <a:ext uri="{FF2B5EF4-FFF2-40B4-BE49-F238E27FC236}">
                <a16:creationId xmlns:a16="http://schemas.microsoft.com/office/drawing/2014/main" id="{FD7419D2-D56D-40B1-9FEF-AB804AFCED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326"/>
          <a:stretch/>
        </p:blipFill>
        <p:spPr bwMode="auto">
          <a:xfrm>
            <a:off x="4748552" y="2506279"/>
            <a:ext cx="3179427" cy="2802527"/>
          </a:xfrm>
          <a:prstGeom prst="rect">
            <a:avLst/>
          </a:prstGeom>
          <a:noFill/>
        </p:spPr>
      </p:pic>
      <p:pic>
        <p:nvPicPr>
          <p:cNvPr id="7" name="Picture 6" descr="A picture containing outdoor, power shovel, transport&#10;&#10;Description automatically generated">
            <a:extLst>
              <a:ext uri="{FF2B5EF4-FFF2-40B4-BE49-F238E27FC236}">
                <a16:creationId xmlns:a16="http://schemas.microsoft.com/office/drawing/2014/main" id="{DBC8DF0B-D6B3-4DFE-8DE4-27A908C67D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7602" y="3880433"/>
            <a:ext cx="3629857" cy="231705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2DD796A-C4E5-43C9-A926-182BCDC4D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eel production at ArcelorMittal Belgium</a:t>
            </a:r>
            <a:br>
              <a:rPr lang="en-GB" dirty="0"/>
            </a:br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6F665474-6099-4684-AEA2-3690FFE3D6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023" y="1133239"/>
            <a:ext cx="3179427" cy="2086499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2213A3-743D-4E7D-81C6-61CCA788FF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A2D0B2-27EA-4358-9E09-72BCC49DA1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2053A95-E44D-4F49-B1F2-98834AB0CE2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15/03/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59E1C9A-4142-4186-BD84-3BC5E72C9D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2885417"/>
            <a:ext cx="3329053" cy="2333804"/>
          </a:xfrm>
          <a:prstGeom prst="rect">
            <a:avLst/>
          </a:prstGeom>
        </p:spPr>
      </p:pic>
      <p:pic>
        <p:nvPicPr>
          <p:cNvPr id="12" name="Picture 6" descr="C:\Users\SIDEFOY\Desktop\sociale media\2015\twitter\september\header.jpg">
            <a:extLst>
              <a:ext uri="{FF2B5EF4-FFF2-40B4-BE49-F238E27FC236}">
                <a16:creationId xmlns:a16="http://schemas.microsoft.com/office/drawing/2014/main" id="{79E0215F-AB2D-4F57-9F50-D0D382E301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17" t="792" r="34647" b="-792"/>
          <a:stretch/>
        </p:blipFill>
        <p:spPr bwMode="auto">
          <a:xfrm>
            <a:off x="6183240" y="3784302"/>
            <a:ext cx="2960760" cy="2333804"/>
          </a:xfrm>
          <a:prstGeom prst="rect">
            <a:avLst/>
          </a:prstGeom>
          <a:noFill/>
        </p:spPr>
      </p:pic>
      <p:sp>
        <p:nvSpPr>
          <p:cNvPr id="13" name="Arrow: Curved Down 12">
            <a:extLst>
              <a:ext uri="{FF2B5EF4-FFF2-40B4-BE49-F238E27FC236}">
                <a16:creationId xmlns:a16="http://schemas.microsoft.com/office/drawing/2014/main" id="{090E8376-53C4-410B-83B5-CA71702EA679}"/>
              </a:ext>
            </a:extLst>
          </p:cNvPr>
          <p:cNvSpPr/>
          <p:nvPr/>
        </p:nvSpPr>
        <p:spPr bwMode="auto">
          <a:xfrm rot="1549110">
            <a:off x="4366396" y="1113944"/>
            <a:ext cx="2491531" cy="1166070"/>
          </a:xfrm>
          <a:prstGeom prst="curvedDownArrow">
            <a:avLst>
              <a:gd name="adj1" fmla="val 21500"/>
              <a:gd name="adj2" fmla="val 51450"/>
              <a:gd name="adj3" fmla="val 56132"/>
            </a:avLst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-25000">
              <a:ln>
                <a:noFill/>
              </a:ln>
              <a:solidFill>
                <a:srgbClr val="FAFFFF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77367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4EC9C-D0EB-4C75-A35E-6173727EC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hot strip mi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085226-2F9E-4FD0-A89E-CFBDCCB16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850" y="3565320"/>
            <a:ext cx="8496150" cy="2446679"/>
          </a:xfrm>
        </p:spPr>
        <p:txBody>
          <a:bodyPr/>
          <a:lstStyle/>
          <a:p>
            <a:r>
              <a:rPr lang="en-US" dirty="0"/>
              <a:t>Chemical composition already determined</a:t>
            </a:r>
          </a:p>
          <a:p>
            <a:r>
              <a:rPr lang="en-US" dirty="0"/>
              <a:t>Large dimensional changes (both width and thickness)</a:t>
            </a:r>
          </a:p>
          <a:p>
            <a:r>
              <a:rPr lang="en-US" dirty="0"/>
              <a:t>At high temperature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B27290-D14B-49E9-8297-099601DCFD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998C78-F4FF-47F2-B013-26645E3A521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9CF106-E6DF-41DE-A700-D58C3648BD2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15/03/2021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C645A8-1053-42B6-A190-913DAC6C55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5069" y="928320"/>
            <a:ext cx="3614931" cy="236436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612A99D-6E85-4AE1-B841-E279FB11AE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928320"/>
            <a:ext cx="3547806" cy="2364360"/>
          </a:xfrm>
          <a:prstGeom prst="rect">
            <a:avLst/>
          </a:prstGeom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03FEA3BB-E6FE-427D-9D18-DBDFB9B99A8E}"/>
              </a:ext>
            </a:extLst>
          </p:cNvPr>
          <p:cNvSpPr/>
          <p:nvPr/>
        </p:nvSpPr>
        <p:spPr bwMode="auto">
          <a:xfrm>
            <a:off x="4244829" y="1325461"/>
            <a:ext cx="654342" cy="1518407"/>
          </a:xfrm>
          <a:prstGeom prst="rightArrow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-25000">
              <a:ln>
                <a:noFill/>
              </a:ln>
              <a:solidFill>
                <a:srgbClr val="FAFFFF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82275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C2DBC6-527C-4B52-B434-87B612FC2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hot strip mil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0E4A5C-AF10-4C18-B570-274176D343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81189F-E632-4389-8148-DB3EFA874F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6F975CC-9656-41CB-8B32-95DD8936D13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/03/2021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81F8725-1A54-41B9-B045-C3AF7DA266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2194560"/>
            <a:ext cx="8496150" cy="200224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236F27B-94EB-4C1C-807B-31BB7D252D6A}"/>
              </a:ext>
            </a:extLst>
          </p:cNvPr>
          <p:cNvSpPr txBox="1"/>
          <p:nvPr/>
        </p:nvSpPr>
        <p:spPr>
          <a:xfrm>
            <a:off x="348236" y="1007200"/>
            <a:ext cx="2979789" cy="96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urnaces</a:t>
            </a:r>
          </a:p>
          <a:p>
            <a:pPr marL="248400" indent="-24765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Walking beam</a:t>
            </a:r>
          </a:p>
          <a:p>
            <a:pPr marL="248400" indent="-24765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Reheating to ±1200°C</a:t>
            </a:r>
          </a:p>
        </p:txBody>
      </p:sp>
      <p:cxnSp>
        <p:nvCxnSpPr>
          <p:cNvPr id="14" name="Connector: Curved 13">
            <a:extLst>
              <a:ext uri="{FF2B5EF4-FFF2-40B4-BE49-F238E27FC236}">
                <a16:creationId xmlns:a16="http://schemas.microsoft.com/office/drawing/2014/main" id="{9F9F66B5-AEB7-49DC-9312-41298C80DB5F}"/>
              </a:ext>
            </a:extLst>
          </p:cNvPr>
          <p:cNvCxnSpPr>
            <a:cxnSpLocks/>
            <a:endCxn id="12" idx="2"/>
          </p:cNvCxnSpPr>
          <p:nvPr/>
        </p:nvCxnSpPr>
        <p:spPr bwMode="auto">
          <a:xfrm rot="5400000" flipH="1" flipV="1">
            <a:off x="930209" y="2091765"/>
            <a:ext cx="1032223" cy="783621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70D3E4C6-6F42-4520-ADF4-B94C3E133854}"/>
              </a:ext>
            </a:extLst>
          </p:cNvPr>
          <p:cNvSpPr txBox="1"/>
          <p:nvPr/>
        </p:nvSpPr>
        <p:spPr>
          <a:xfrm>
            <a:off x="1425450" y="4852374"/>
            <a:ext cx="4631068" cy="1255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ughing mill</a:t>
            </a:r>
          </a:p>
          <a:p>
            <a:pPr marL="248400" indent="-24765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First thickness reduction: from 220 to 36mm</a:t>
            </a:r>
          </a:p>
          <a:p>
            <a:pPr marL="248400" indent="-24765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Width reduction up to 200mm</a:t>
            </a:r>
          </a:p>
          <a:p>
            <a:pPr marL="248400" indent="-24765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About 2 mm accuracy</a:t>
            </a:r>
          </a:p>
        </p:txBody>
      </p:sp>
      <p:cxnSp>
        <p:nvCxnSpPr>
          <p:cNvPr id="21" name="Connector: Curved 20">
            <a:extLst>
              <a:ext uri="{FF2B5EF4-FFF2-40B4-BE49-F238E27FC236}">
                <a16:creationId xmlns:a16="http://schemas.microsoft.com/office/drawing/2014/main" id="{A971F025-715D-46D4-B43F-7497000AE1C7}"/>
              </a:ext>
            </a:extLst>
          </p:cNvPr>
          <p:cNvCxnSpPr>
            <a:cxnSpLocks/>
            <a:endCxn id="20" idx="0"/>
          </p:cNvCxnSpPr>
          <p:nvPr/>
        </p:nvCxnSpPr>
        <p:spPr bwMode="auto">
          <a:xfrm rot="16200000" flipH="1">
            <a:off x="2741092" y="3852482"/>
            <a:ext cx="1028632" cy="971151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991E48E-A8FB-4087-A78C-47576FF3533C}"/>
              </a:ext>
            </a:extLst>
          </p:cNvPr>
          <p:cNvSpPr txBox="1"/>
          <p:nvPr/>
        </p:nvSpPr>
        <p:spPr>
          <a:xfrm>
            <a:off x="3706686" y="909445"/>
            <a:ext cx="4604029" cy="96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nishing mill</a:t>
            </a:r>
          </a:p>
          <a:p>
            <a:pPr marL="248400" indent="-24765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ea typeface="MS PGothic" pitchFamily="34" charset="-128"/>
              </a:rPr>
              <a:t>Final thickness reduction up to 1.5mm</a:t>
            </a:r>
          </a:p>
          <a:p>
            <a:pPr marL="248400" indent="-24765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ea typeface="MS PGothic" pitchFamily="34" charset="-128"/>
              </a:rPr>
              <a:t>About 10 µm accuracy</a:t>
            </a:r>
          </a:p>
        </p:txBody>
      </p:sp>
      <p:cxnSp>
        <p:nvCxnSpPr>
          <p:cNvPr id="26" name="Connector: Curved 25">
            <a:extLst>
              <a:ext uri="{FF2B5EF4-FFF2-40B4-BE49-F238E27FC236}">
                <a16:creationId xmlns:a16="http://schemas.microsoft.com/office/drawing/2014/main" id="{C80E96CF-B5A0-4B33-94CD-F35A4D2D48B1}"/>
              </a:ext>
            </a:extLst>
          </p:cNvPr>
          <p:cNvCxnSpPr>
            <a:cxnSpLocks/>
          </p:cNvCxnSpPr>
          <p:nvPr/>
        </p:nvCxnSpPr>
        <p:spPr bwMode="auto">
          <a:xfrm rot="5400000" flipH="1" flipV="1">
            <a:off x="4873111" y="1993550"/>
            <a:ext cx="916862" cy="752168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2AE3931B-D5D8-4DCC-BD52-BD469D682A65}"/>
              </a:ext>
            </a:extLst>
          </p:cNvPr>
          <p:cNvSpPr txBox="1"/>
          <p:nvPr/>
        </p:nvSpPr>
        <p:spPr>
          <a:xfrm>
            <a:off x="6633619" y="4970489"/>
            <a:ext cx="21863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oling and coiling</a:t>
            </a:r>
          </a:p>
        </p:txBody>
      </p:sp>
      <p:cxnSp>
        <p:nvCxnSpPr>
          <p:cNvPr id="30" name="Connector: Curved 29">
            <a:extLst>
              <a:ext uri="{FF2B5EF4-FFF2-40B4-BE49-F238E27FC236}">
                <a16:creationId xmlns:a16="http://schemas.microsoft.com/office/drawing/2014/main" id="{5C4CF0B9-D955-495E-BAD4-D80CDA474452}"/>
              </a:ext>
            </a:extLst>
          </p:cNvPr>
          <p:cNvCxnSpPr>
            <a:cxnSpLocks/>
            <a:endCxn id="29" idx="0"/>
          </p:cNvCxnSpPr>
          <p:nvPr/>
        </p:nvCxnSpPr>
        <p:spPr bwMode="auto">
          <a:xfrm rot="16200000" flipH="1">
            <a:off x="6676518" y="3920197"/>
            <a:ext cx="1335012" cy="765571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0570464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C2DBC6-527C-4B52-B434-87B612FC2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dth contro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0E4A5C-AF10-4C18-B570-274176D343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81189F-E632-4389-8148-DB3EFA874F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6F975CC-9656-41CB-8B32-95DD8936D13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15/03/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81F8725-1A54-41B9-B045-C3AF7DA266C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19"/>
          <a:stretch/>
        </p:blipFill>
        <p:spPr>
          <a:xfrm>
            <a:off x="323925" y="2577374"/>
            <a:ext cx="8496150" cy="161942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0ADAD50-4B42-4B28-96F5-1E0F562B8D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878" y="4842302"/>
            <a:ext cx="999238" cy="999238"/>
          </a:xfrm>
          <a:prstGeom prst="rect">
            <a:avLst/>
          </a:prstGeom>
        </p:spPr>
      </p:pic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237EB315-3039-43CB-83D3-35CF9E74AA02}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2707724" y="4318219"/>
            <a:ext cx="946154" cy="1057530"/>
          </a:xfrm>
          <a:prstGeom prst="bentConnector2">
            <a:avLst/>
          </a:prstGeom>
          <a:noFill/>
          <a:ln w="2857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46D8D64A-6111-462D-BB28-05E6697017A6}"/>
              </a:ext>
            </a:extLst>
          </p:cNvPr>
          <p:cNvCxnSpPr>
            <a:cxnSpLocks/>
          </p:cNvCxnSpPr>
          <p:nvPr/>
        </p:nvCxnSpPr>
        <p:spPr bwMode="auto">
          <a:xfrm flipV="1">
            <a:off x="4653116" y="4318219"/>
            <a:ext cx="2640556" cy="1057531"/>
          </a:xfrm>
          <a:prstGeom prst="bentConnector3">
            <a:avLst>
              <a:gd name="adj1" fmla="val 99989"/>
            </a:avLst>
          </a:prstGeom>
          <a:noFill/>
          <a:ln w="2857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690E7400-E8DF-4A88-B1F2-486403D17758}"/>
              </a:ext>
            </a:extLst>
          </p:cNvPr>
          <p:cNvSpPr txBox="1"/>
          <p:nvPr/>
        </p:nvSpPr>
        <p:spPr>
          <a:xfrm>
            <a:off x="323850" y="1261872"/>
            <a:ext cx="4174408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48400" indent="-24765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ea typeface="MS PGothic" pitchFamily="34" charset="-128"/>
              </a:rPr>
              <a:t>Width actuators in roughing mill</a:t>
            </a:r>
          </a:p>
          <a:p>
            <a:pPr marL="248400" indent="-24765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ea typeface="MS PGothic" pitchFamily="34" charset="-128"/>
              </a:rPr>
              <a:t>Target width after finishing mil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1795801-3AF0-4B93-9681-D431CA311F17}"/>
              </a:ext>
            </a:extLst>
          </p:cNvPr>
          <p:cNvSpPr txBox="1"/>
          <p:nvPr/>
        </p:nvSpPr>
        <p:spPr>
          <a:xfrm>
            <a:off x="1704159" y="2288529"/>
            <a:ext cx="4174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</a:rPr>
              <a:t>No feedback control possible</a:t>
            </a:r>
          </a:p>
        </p:txBody>
      </p:sp>
      <p:sp>
        <p:nvSpPr>
          <p:cNvPr id="37" name="Arrow: Bent-Up 36">
            <a:extLst>
              <a:ext uri="{FF2B5EF4-FFF2-40B4-BE49-F238E27FC236}">
                <a16:creationId xmlns:a16="http://schemas.microsoft.com/office/drawing/2014/main" id="{8BC727A5-5DF2-4D31-A3F7-81BB4DECD16F}"/>
              </a:ext>
            </a:extLst>
          </p:cNvPr>
          <p:cNvSpPr/>
          <p:nvPr/>
        </p:nvSpPr>
        <p:spPr bwMode="auto">
          <a:xfrm rot="5400000">
            <a:off x="1145231" y="2096871"/>
            <a:ext cx="663677" cy="454179"/>
          </a:xfrm>
          <a:prstGeom prst="bentUpArrow">
            <a:avLst>
              <a:gd name="adj1" fmla="val 39613"/>
              <a:gd name="adj2" fmla="val 35553"/>
              <a:gd name="adj3" fmla="val 25000"/>
            </a:avLst>
          </a:prstGeom>
          <a:solidFill>
            <a:srgbClr val="1111D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-25000">
              <a:ln>
                <a:noFill/>
              </a:ln>
              <a:solidFill>
                <a:srgbClr val="FAFFFF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195747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C614C-836E-4281-9BFA-7831671EE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pecific problem: width constrictions during </a:t>
            </a:r>
            <a:r>
              <a:rPr lang="en-GB" dirty="0" err="1"/>
              <a:t>downcoiling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6CA900-4037-4566-AD3D-2C94B5F5A7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AB75AD-91A2-4BA4-9FB5-57B42B4BF8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FC9A593-397F-4096-BB36-3274081FBED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15/03/202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DDD38F7-C1A3-4702-8738-5EAE6806F9C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66" t="16760"/>
          <a:stretch/>
        </p:blipFill>
        <p:spPr>
          <a:xfrm>
            <a:off x="701336" y="1207363"/>
            <a:ext cx="4514330" cy="1666664"/>
          </a:xfrm>
          <a:prstGeom prst="rect">
            <a:avLst/>
          </a:prstGeom>
        </p:spPr>
      </p:pic>
      <p:cxnSp>
        <p:nvCxnSpPr>
          <p:cNvPr id="8" name="Connector: Curved 7">
            <a:extLst>
              <a:ext uri="{FF2B5EF4-FFF2-40B4-BE49-F238E27FC236}">
                <a16:creationId xmlns:a16="http://schemas.microsoft.com/office/drawing/2014/main" id="{641D4807-D882-4385-92B5-470F03C3A9AE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3063076" y="2254206"/>
            <a:ext cx="1632205" cy="1032547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" name="Connector: Curved 8">
            <a:extLst>
              <a:ext uri="{FF2B5EF4-FFF2-40B4-BE49-F238E27FC236}">
                <a16:creationId xmlns:a16="http://schemas.microsoft.com/office/drawing/2014/main" id="{4EDF9474-1D78-4F08-8BEB-9F479ABCBFEF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1256471" y="2055465"/>
            <a:ext cx="1545888" cy="1516346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A64DE575-3171-4A37-8CC1-DE063AD3E154}"/>
              </a:ext>
            </a:extLst>
          </p:cNvPr>
          <p:cNvSpPr txBox="1"/>
          <p:nvPr/>
        </p:nvSpPr>
        <p:spPr>
          <a:xfrm>
            <a:off x="646787" y="3621041"/>
            <a:ext cx="80266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 the strip is picked up by the </a:t>
            </a:r>
            <a:r>
              <a:rPr lang="en-US" dirty="0" err="1"/>
              <a:t>downcoiler</a:t>
            </a:r>
            <a:r>
              <a:rPr lang="en-US" dirty="0"/>
              <a:t>, it is still in the finishing mi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This means tension is put on the strip, potentially lowering its cross s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Possibility of width constricti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8BB982B-4637-4642-B5AF-C15EE39DF62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964"/>
          <a:stretch/>
        </p:blipFill>
        <p:spPr>
          <a:xfrm>
            <a:off x="206067" y="4584806"/>
            <a:ext cx="8731866" cy="1445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7266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DE9DE-C012-45B9-8DA2-81044EF65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gnizing the constri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18523-9A27-48CA-882B-3A50032B69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t about 140 -170m from the head</a:t>
            </a:r>
          </a:p>
          <a:p>
            <a:r>
              <a:rPr lang="en-US" dirty="0"/>
              <a:t>Two width measurements: B4 and B5</a:t>
            </a:r>
          </a:p>
          <a:p>
            <a:pPr lvl="1"/>
            <a:r>
              <a:rPr lang="en-US" dirty="0"/>
              <a:t>B4 before pickup </a:t>
            </a:r>
            <a:r>
              <a:rPr lang="en-US" dirty="0" err="1"/>
              <a:t>downcoiler</a:t>
            </a:r>
            <a:r>
              <a:rPr lang="en-US" dirty="0"/>
              <a:t>, constriction not visible</a:t>
            </a:r>
          </a:p>
          <a:p>
            <a:pPr lvl="1"/>
            <a:r>
              <a:rPr lang="en-US" dirty="0"/>
              <a:t>B5 after pickup </a:t>
            </a:r>
            <a:r>
              <a:rPr lang="en-US" dirty="0" err="1"/>
              <a:t>downcoiler</a:t>
            </a:r>
            <a:r>
              <a:rPr lang="en-US" dirty="0"/>
              <a:t>, constriction visib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93C964-DAD8-4FE4-9AC8-0B5C60C9F1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3F8507-CEC9-4D9A-A6C4-88E03FAFEB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7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94F4105-5AB7-4D65-BDF4-A529F9EBC2D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15/03/202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5B2204C-A79A-4C34-9DD7-1DFBDA5092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4058"/>
          <a:stretch/>
        </p:blipFill>
        <p:spPr>
          <a:xfrm>
            <a:off x="323850" y="2488747"/>
            <a:ext cx="5023101" cy="3015408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B2BA17F6-62B1-4961-9A33-8D132EF19699}"/>
              </a:ext>
            </a:extLst>
          </p:cNvPr>
          <p:cNvGrpSpPr/>
          <p:nvPr/>
        </p:nvGrpSpPr>
        <p:grpSpPr>
          <a:xfrm>
            <a:off x="4468507" y="2730555"/>
            <a:ext cx="4351493" cy="3347273"/>
            <a:chOff x="4179948" y="2988008"/>
            <a:chExt cx="4351493" cy="334727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FDD7648-9DAF-453C-8E45-104ABAE293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40291"/>
            <a:stretch/>
          </p:blipFill>
          <p:spPr>
            <a:xfrm>
              <a:off x="4179948" y="3080851"/>
              <a:ext cx="4351493" cy="3254430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4CA3585-46F9-4AD8-888E-BF84F34D63D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4199412" y="2988008"/>
              <a:ext cx="4213924" cy="3347273"/>
            </a:xfrm>
            <a:prstGeom prst="line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6E8E4CB-665A-4D92-B52B-281EFF2C501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199412" y="2988008"/>
              <a:ext cx="4213924" cy="3347273"/>
            </a:xfrm>
            <a:prstGeom prst="line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23736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DE9DE-C012-45B9-8DA2-81044EF65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ques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18523-9A27-48CA-882B-3A50032B69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order to anticipate on the width constriction, the risk of occurrence should be predictable.</a:t>
            </a:r>
          </a:p>
          <a:p>
            <a:r>
              <a:rPr lang="en-US" dirty="0"/>
              <a:t>Only data which is known a priori should be used</a:t>
            </a:r>
          </a:p>
          <a:p>
            <a:r>
              <a:rPr lang="en-US" dirty="0"/>
              <a:t>Prediction can be binary (risk or no risk), but may also be a sc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93C964-DAD8-4FE4-9AC8-0B5C60C9F1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3F8507-CEC9-4D9A-A6C4-88E03FAFEB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94F4105-5AB7-4D65-BDF4-A529F9EBC2D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15/03/2021</a:t>
            </a:r>
          </a:p>
        </p:txBody>
      </p:sp>
    </p:spTree>
    <p:extLst>
      <p:ext uri="{BB962C8B-B14F-4D97-AF65-F5344CB8AC3E}">
        <p14:creationId xmlns:p14="http://schemas.microsoft.com/office/powerpoint/2010/main" val="42845922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DE9DE-C012-45B9-8DA2-81044EF65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ailable data: known a prior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18523-9A27-48CA-882B-3A50032B69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850" y="2885242"/>
            <a:ext cx="8496150" cy="3126757"/>
          </a:xfrm>
        </p:spPr>
        <p:txBody>
          <a:bodyPr/>
          <a:lstStyle/>
          <a:p>
            <a:r>
              <a:rPr lang="en-US" sz="1600" dirty="0"/>
              <a:t>Coil: unique identification: </a:t>
            </a:r>
            <a:r>
              <a:rPr lang="en-US" sz="1600" b="1" dirty="0"/>
              <a:t>no input</a:t>
            </a:r>
          </a:p>
          <a:p>
            <a:r>
              <a:rPr lang="en-US" sz="1600" dirty="0"/>
              <a:t>Furnace number: used reheating furnace: preferably not used as input, but interesting if the model can be improved with it</a:t>
            </a:r>
          </a:p>
          <a:p>
            <a:r>
              <a:rPr lang="en-US" sz="1600" dirty="0" err="1"/>
              <a:t>Analyse</a:t>
            </a:r>
            <a:r>
              <a:rPr lang="en-US" sz="1600" dirty="0"/>
              <a:t>: identifier of material type, categorical, first 3 digits = main group, last digit = subgroup</a:t>
            </a:r>
          </a:p>
          <a:p>
            <a:r>
              <a:rPr lang="en-US" sz="1600" dirty="0"/>
              <a:t>Hardness: two quantifications of hardness: dimensionless numbers</a:t>
            </a:r>
          </a:p>
          <a:p>
            <a:r>
              <a:rPr lang="en-US" sz="1600" dirty="0"/>
              <a:t>Width: average width in mm</a:t>
            </a:r>
          </a:p>
          <a:p>
            <a:r>
              <a:rPr lang="en-US" sz="1600" dirty="0"/>
              <a:t>Temperature before and after finishing mill: in </a:t>
            </a:r>
            <a:r>
              <a:rPr lang="en-US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°C</a:t>
            </a:r>
          </a:p>
          <a:p>
            <a:r>
              <a:rPr lang="en-US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Thickness: thickness after finishing mill, in mm</a:t>
            </a:r>
          </a:p>
          <a:p>
            <a:r>
              <a:rPr lang="en-US" sz="16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Thickness profile: information on the shape of the cross section of the strip after finishing.</a:t>
            </a:r>
            <a:r>
              <a:rPr lang="en-US" sz="1600" dirty="0"/>
              <a:t> preferably not used as input, but interesting if the model can be improved with it</a:t>
            </a:r>
            <a:endParaRPr lang="en-US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US" sz="1600" dirty="0"/>
              <a:t>c, </a:t>
            </a:r>
            <a:r>
              <a:rPr lang="en-US" sz="1600" dirty="0" err="1"/>
              <a:t>mn</a:t>
            </a:r>
            <a:r>
              <a:rPr lang="en-US" sz="1600" dirty="0"/>
              <a:t>, </a:t>
            </a:r>
            <a:r>
              <a:rPr lang="en-US" sz="1600" dirty="0" err="1"/>
              <a:t>si</a:t>
            </a:r>
            <a:r>
              <a:rPr lang="en-US" sz="1600" dirty="0"/>
              <a:t>,…. : chemical composition in parts per millio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93C964-DAD8-4FE4-9AC8-0B5C60C9F1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3F8507-CEC9-4D9A-A6C4-88E03FAFEB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94F4105-5AB7-4D65-BDF4-A529F9EBC2D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15/03/202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C51D31-530E-47BC-B328-9C1F230D6E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9"/>
          <a:stretch/>
        </p:blipFill>
        <p:spPr>
          <a:xfrm>
            <a:off x="186430" y="968240"/>
            <a:ext cx="8795569" cy="1755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267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PresentationV8">
  <a:themeElements>
    <a:clrScheme name="ArcelorMittal">
      <a:dk1>
        <a:srgbClr val="696969"/>
      </a:dk1>
      <a:lt1>
        <a:srgbClr val="FFFFFF"/>
      </a:lt1>
      <a:dk2>
        <a:srgbClr val="FF3700"/>
      </a:dk2>
      <a:lt2>
        <a:srgbClr val="C5BCA4"/>
      </a:lt2>
      <a:accent1>
        <a:srgbClr val="0070C0"/>
      </a:accent1>
      <a:accent2>
        <a:srgbClr val="8B819E"/>
      </a:accent2>
      <a:accent3>
        <a:srgbClr val="5C7F92"/>
      </a:accent3>
      <a:accent4>
        <a:srgbClr val="70A489"/>
      </a:accent4>
      <a:accent5>
        <a:srgbClr val="C88F42"/>
      </a:accent5>
      <a:accent6>
        <a:srgbClr val="8B819E"/>
      </a:accent6>
      <a:hlink>
        <a:srgbClr val="9DB1C9"/>
      </a:hlink>
      <a:folHlink>
        <a:srgbClr val="BAC48C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rcelorMittal template 4x3" id="{59E1EA6A-A0C0-4CE0-8AB2-98E3E07D5602}" vid="{009F2C83-9E59-4F44-82E0-F71D12FAA86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E0EBBB79472645BF3E4F99F4AF7217" ma:contentTypeVersion="7" ma:contentTypeDescription="Create a new document." ma:contentTypeScope="" ma:versionID="0142abeb07721e91d15fecee24a205ee">
  <xsd:schema xmlns:xsd="http://www.w3.org/2001/XMLSchema" xmlns:xs="http://www.w3.org/2001/XMLSchema" xmlns:p="http://schemas.microsoft.com/office/2006/metadata/properties" xmlns:ns3="8c1fc411-1970-4b5e-88f4-540b2d93d16b" targetNamespace="http://schemas.microsoft.com/office/2006/metadata/properties" ma:root="true" ma:fieldsID="0e828a2d3059ceb39a9e6e3e42e4553d" ns3:_="">
    <xsd:import namespace="8c1fc411-1970-4b5e-88f4-540b2d93d16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fc411-1970-4b5e-88f4-540b2d93d1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192A4B1-0A4D-4BC6-B369-95A3CB6BE7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c1fc411-1970-4b5e-88f4-540b2d93d1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D6B95E-6557-4BB0-9137-59666AA5DF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855117-2FD9-4898-A08D-8014407CBC40}">
  <ds:schemaRefs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8c1fc411-1970-4b5e-88f4-540b2d93d16b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02</TotalTime>
  <Words>469</Words>
  <Application>Microsoft Office PowerPoint</Application>
  <PresentationFormat>On-screen Show (4:3)</PresentationFormat>
  <Paragraphs>81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7_PresentationV8</vt:lpstr>
      <vt:lpstr>think-cell Slide</vt:lpstr>
      <vt:lpstr>Introduction: Predicting width constrictions during hot rolling</vt:lpstr>
      <vt:lpstr>Steel production at ArcelorMittal Belgium </vt:lpstr>
      <vt:lpstr>The hot strip mill</vt:lpstr>
      <vt:lpstr>The hot strip mill</vt:lpstr>
      <vt:lpstr>Width control</vt:lpstr>
      <vt:lpstr>Specific problem: width constrictions during downcoiling</vt:lpstr>
      <vt:lpstr>Recognizing the constriction</vt:lpstr>
      <vt:lpstr>Project question</vt:lpstr>
      <vt:lpstr>Available data: known a priori</vt:lpstr>
      <vt:lpstr>Measured data (no input)</vt:lpstr>
      <vt:lpstr>Data loc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uden, Ian</dc:creator>
  <cp:lastModifiedBy>Bogaerts, Thomas</cp:lastModifiedBy>
  <cp:revision>25</cp:revision>
  <dcterms:created xsi:type="dcterms:W3CDTF">2019-08-07T16:44:42Z</dcterms:created>
  <dcterms:modified xsi:type="dcterms:W3CDTF">2022-04-08T10:4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E0EBBB79472645BF3E4F99F4AF7217</vt:lpwstr>
  </property>
</Properties>
</file>